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55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1</c:f>
              <c:numCache>
                <c:formatCode>m/d/yyyy</c:formatCode>
                <c:ptCount val="23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</c:numCache>
            </c:numRef>
          </c:cat>
          <c:val>
            <c:numRef>
              <c:f>Sheet1!$D$2:$D$231</c:f>
              <c:numCache>
                <c:formatCode>#,##0</c:formatCode>
                <c:ptCount val="230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8</c:v>
                </c:pt>
                <c:pt idx="61">
                  <c:v>573</c:v>
                </c:pt>
                <c:pt idx="62">
                  <c:v>601</c:v>
                </c:pt>
                <c:pt idx="63">
                  <c:v>623</c:v>
                </c:pt>
                <c:pt idx="64">
                  <c:v>602</c:v>
                </c:pt>
                <c:pt idx="65">
                  <c:v>593</c:v>
                </c:pt>
                <c:pt idx="66">
                  <c:v>601</c:v>
                </c:pt>
                <c:pt idx="67">
                  <c:v>582</c:v>
                </c:pt>
                <c:pt idx="68">
                  <c:v>582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9</c:v>
                </c:pt>
                <c:pt idx="106">
                  <c:v>313</c:v>
                </c:pt>
                <c:pt idx="107">
                  <c:v>303</c:v>
                </c:pt>
                <c:pt idx="108">
                  <c:v>313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6</c:v>
                </c:pt>
                <c:pt idx="165">
                  <c:v>561</c:v>
                </c:pt>
                <c:pt idx="166">
                  <c:v>580</c:v>
                </c:pt>
                <c:pt idx="167">
                  <c:v>570</c:v>
                </c:pt>
                <c:pt idx="168">
                  <c:v>594</c:v>
                </c:pt>
                <c:pt idx="169">
                  <c:v>608</c:v>
                </c:pt>
                <c:pt idx="170">
                  <c:v>618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29</c:v>
                </c:pt>
                <c:pt idx="178">
                  <c:v>721</c:v>
                </c:pt>
                <c:pt idx="179">
                  <c:v>714</c:v>
                </c:pt>
                <c:pt idx="180">
                  <c:v>740</c:v>
                </c:pt>
                <c:pt idx="181">
                  <c:v>780</c:v>
                </c:pt>
                <c:pt idx="182">
                  <c:v>797</c:v>
                </c:pt>
                <c:pt idx="183">
                  <c:v>803</c:v>
                </c:pt>
                <c:pt idx="184">
                  <c:v>824</c:v>
                </c:pt>
                <c:pt idx="185">
                  <c:v>839</c:v>
                </c:pt>
                <c:pt idx="186">
                  <c:v>849</c:v>
                </c:pt>
                <c:pt idx="187">
                  <c:v>868</c:v>
                </c:pt>
                <c:pt idx="188">
                  <c:v>916</c:v>
                </c:pt>
                <c:pt idx="189">
                  <c:v>906</c:v>
                </c:pt>
                <c:pt idx="190">
                  <c:v>915</c:v>
                </c:pt>
                <c:pt idx="191">
                  <c:v>916</c:v>
                </c:pt>
                <c:pt idx="192">
                  <c:v>927</c:v>
                </c:pt>
                <c:pt idx="193">
                  <c:v>910</c:v>
                </c:pt>
                <c:pt idx="194">
                  <c:v>936</c:v>
                </c:pt>
                <c:pt idx="195">
                  <c:v>941</c:v>
                </c:pt>
                <c:pt idx="196">
                  <c:v>926</c:v>
                </c:pt>
                <c:pt idx="197">
                  <c:v>925</c:v>
                </c:pt>
                <c:pt idx="198">
                  <c:v>952</c:v>
                </c:pt>
                <c:pt idx="199">
                  <c:v>944</c:v>
                </c:pt>
                <c:pt idx="200">
                  <c:v>939</c:v>
                </c:pt>
                <c:pt idx="201">
                  <c:v>934</c:v>
                </c:pt>
                <c:pt idx="202">
                  <c:v>973</c:v>
                </c:pt>
                <c:pt idx="203">
                  <c:v>932</c:v>
                </c:pt>
                <c:pt idx="204">
                  <c:v>924</c:v>
                </c:pt>
                <c:pt idx="207">
                  <c:v>881</c:v>
                </c:pt>
                <c:pt idx="208">
                  <c:v>866</c:v>
                </c:pt>
                <c:pt idx="209">
                  <c:v>870</c:v>
                </c:pt>
                <c:pt idx="210">
                  <c:v>844</c:v>
                </c:pt>
                <c:pt idx="211">
                  <c:v>815</c:v>
                </c:pt>
                <c:pt idx="212">
                  <c:v>795</c:v>
                </c:pt>
                <c:pt idx="213">
                  <c:v>767</c:v>
                </c:pt>
                <c:pt idx="214">
                  <c:v>729</c:v>
                </c:pt>
                <c:pt idx="215">
                  <c:v>718</c:v>
                </c:pt>
                <c:pt idx="216">
                  <c:v>714</c:v>
                </c:pt>
                <c:pt idx="217">
                  <c:v>737</c:v>
                </c:pt>
                <c:pt idx="218">
                  <c:v>713</c:v>
                </c:pt>
                <c:pt idx="219">
                  <c:v>679</c:v>
                </c:pt>
                <c:pt idx="220">
                  <c:v>641</c:v>
                </c:pt>
                <c:pt idx="221">
                  <c:v>617</c:v>
                </c:pt>
                <c:pt idx="222">
                  <c:v>615</c:v>
                </c:pt>
                <c:pt idx="223">
                  <c:v>605</c:v>
                </c:pt>
                <c:pt idx="224">
                  <c:v>587</c:v>
                </c:pt>
                <c:pt idx="225">
                  <c:v>553</c:v>
                </c:pt>
                <c:pt idx="226">
                  <c:v>523</c:v>
                </c:pt>
                <c:pt idx="227">
                  <c:v>508</c:v>
                </c:pt>
                <c:pt idx="228">
                  <c:v>482</c:v>
                </c:pt>
                <c:pt idx="229" formatCode="General">
                  <c:v>4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layout>
                <c:manualLayout>
                  <c:x val="-1.2951155278743182E-2"/>
                  <c:y val="-4.490571214802054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2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22B3-47F2-9BD6-517B264C61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31</c:f>
              <c:numCache>
                <c:formatCode>m/d/yyyy</c:formatCode>
                <c:ptCount val="23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</c:numCache>
            </c:numRef>
          </c:cat>
          <c:val>
            <c:numRef>
              <c:f>Sheet1!$B$2:$B$231</c:f>
              <c:numCache>
                <c:formatCode>#,##0</c:formatCode>
                <c:ptCount val="230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 formatCode="General">
                  <c:v>5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1</c:f>
              <c:numCache>
                <c:formatCode>m/d/yyyy</c:formatCode>
                <c:ptCount val="23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</c:numCache>
            </c:numRef>
          </c:cat>
          <c:val>
            <c:numRef>
              <c:f>Sheet1!$C$2:$C$231</c:f>
              <c:numCache>
                <c:formatCode>#,##0</c:formatCode>
                <c:ptCount val="23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1</c:f>
              <c:numCache>
                <c:formatCode>m/d/yyyy</c:formatCode>
                <c:ptCount val="23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</c:numCache>
            </c:numRef>
          </c:cat>
          <c:val>
            <c:numRef>
              <c:f>Sheet1!$D$2:$D$231</c:f>
              <c:numCache>
                <c:formatCode>#,##0</c:formatCode>
                <c:ptCount val="230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4</c:v>
                </c:pt>
                <c:pt idx="43">
                  <c:v>1320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6</c:v>
                </c:pt>
                <c:pt idx="52">
                  <c:v>2378</c:v>
                </c:pt>
                <c:pt idx="53">
                  <c:v>2493</c:v>
                </c:pt>
                <c:pt idx="54">
                  <c:v>2630</c:v>
                </c:pt>
                <c:pt idx="55">
                  <c:v>2835</c:v>
                </c:pt>
                <c:pt idx="56">
                  <c:v>2971</c:v>
                </c:pt>
                <c:pt idx="57">
                  <c:v>3034</c:v>
                </c:pt>
                <c:pt idx="58">
                  <c:v>3250</c:v>
                </c:pt>
                <c:pt idx="59">
                  <c:v>3296</c:v>
                </c:pt>
                <c:pt idx="60">
                  <c:v>3358</c:v>
                </c:pt>
                <c:pt idx="61">
                  <c:v>3442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4</c:v>
                </c:pt>
                <c:pt idx="66">
                  <c:v>3423</c:v>
                </c:pt>
                <c:pt idx="67">
                  <c:v>3348</c:v>
                </c:pt>
                <c:pt idx="68">
                  <c:v>3354</c:v>
                </c:pt>
                <c:pt idx="69">
                  <c:v>3291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6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4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6</c:v>
                </c:pt>
                <c:pt idx="120">
                  <c:v>2479</c:v>
                </c:pt>
                <c:pt idx="121">
                  <c:v>2500</c:v>
                </c:pt>
                <c:pt idx="122">
                  <c:v>2499</c:v>
                </c:pt>
                <c:pt idx="123">
                  <c:v>2684</c:v>
                </c:pt>
                <c:pt idx="124">
                  <c:v>2800</c:v>
                </c:pt>
                <c:pt idx="125">
                  <c:v>3023</c:v>
                </c:pt>
                <c:pt idx="126">
                  <c:v>3051</c:v>
                </c:pt>
                <c:pt idx="127">
                  <c:v>3085</c:v>
                </c:pt>
                <c:pt idx="128">
                  <c:v>3078</c:v>
                </c:pt>
                <c:pt idx="129">
                  <c:v>2935</c:v>
                </c:pt>
                <c:pt idx="130">
                  <c:v>2967</c:v>
                </c:pt>
                <c:pt idx="131">
                  <c:v>2975</c:v>
                </c:pt>
                <c:pt idx="132">
                  <c:v>2978</c:v>
                </c:pt>
                <c:pt idx="133">
                  <c:v>3046</c:v>
                </c:pt>
                <c:pt idx="134">
                  <c:v>2968</c:v>
                </c:pt>
                <c:pt idx="135">
                  <c:v>2928</c:v>
                </c:pt>
                <c:pt idx="136">
                  <c:v>2875</c:v>
                </c:pt>
                <c:pt idx="137">
                  <c:v>2761</c:v>
                </c:pt>
                <c:pt idx="138">
                  <c:v>2747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88</c:v>
                </c:pt>
                <c:pt idx="143">
                  <c:v>2554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9</c:v>
                </c:pt>
                <c:pt idx="158">
                  <c:v>2347</c:v>
                </c:pt>
                <c:pt idx="159">
                  <c:v>2410</c:v>
                </c:pt>
                <c:pt idx="160">
                  <c:v>2473</c:v>
                </c:pt>
                <c:pt idx="161">
                  <c:v>2490</c:v>
                </c:pt>
                <c:pt idx="162">
                  <c:v>2420</c:v>
                </c:pt>
                <c:pt idx="163">
                  <c:v>2454</c:v>
                </c:pt>
                <c:pt idx="164">
                  <c:v>2405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6</c:v>
                </c:pt>
                <c:pt idx="170">
                  <c:v>2756</c:v>
                </c:pt>
                <c:pt idx="171">
                  <c:v>2677</c:v>
                </c:pt>
                <c:pt idx="172">
                  <c:v>2683</c:v>
                </c:pt>
                <c:pt idx="173">
                  <c:v>2805</c:v>
                </c:pt>
                <c:pt idx="174">
                  <c:v>2999</c:v>
                </c:pt>
                <c:pt idx="175">
                  <c:v>3018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4</c:v>
                </c:pt>
                <c:pt idx="182">
                  <c:v>3619</c:v>
                </c:pt>
                <c:pt idx="183">
                  <c:v>3595</c:v>
                </c:pt>
                <c:pt idx="184">
                  <c:v>3678</c:v>
                </c:pt>
                <c:pt idx="185">
                  <c:v>3705</c:v>
                </c:pt>
                <c:pt idx="186">
                  <c:v>3786</c:v>
                </c:pt>
                <c:pt idx="187">
                  <c:v>3875</c:v>
                </c:pt>
                <c:pt idx="188">
                  <c:v>3926</c:v>
                </c:pt>
                <c:pt idx="189">
                  <c:v>3942</c:v>
                </c:pt>
                <c:pt idx="190">
                  <c:v>3955</c:v>
                </c:pt>
                <c:pt idx="191">
                  <c:v>3927</c:v>
                </c:pt>
                <c:pt idx="192">
                  <c:v>3863</c:v>
                </c:pt>
                <c:pt idx="193">
                  <c:v>3974</c:v>
                </c:pt>
                <c:pt idx="194">
                  <c:v>4043</c:v>
                </c:pt>
                <c:pt idx="195">
                  <c:v>4189</c:v>
                </c:pt>
                <c:pt idx="196">
                  <c:v>4103</c:v>
                </c:pt>
                <c:pt idx="197">
                  <c:v>4025</c:v>
                </c:pt>
                <c:pt idx="198">
                  <c:v>3997</c:v>
                </c:pt>
                <c:pt idx="199">
                  <c:v>3794</c:v>
                </c:pt>
                <c:pt idx="200">
                  <c:v>3721</c:v>
                </c:pt>
                <c:pt idx="201">
                  <c:v>3798</c:v>
                </c:pt>
                <c:pt idx="202">
                  <c:v>3814</c:v>
                </c:pt>
                <c:pt idx="203">
                  <c:v>3685</c:v>
                </c:pt>
                <c:pt idx="204">
                  <c:v>3541</c:v>
                </c:pt>
                <c:pt idx="207">
                  <c:v>3355</c:v>
                </c:pt>
                <c:pt idx="208">
                  <c:v>3384</c:v>
                </c:pt>
                <c:pt idx="209">
                  <c:v>3354</c:v>
                </c:pt>
                <c:pt idx="210">
                  <c:v>3277</c:v>
                </c:pt>
                <c:pt idx="211">
                  <c:v>3144</c:v>
                </c:pt>
                <c:pt idx="212">
                  <c:v>2997</c:v>
                </c:pt>
                <c:pt idx="213">
                  <c:v>2814</c:v>
                </c:pt>
                <c:pt idx="214">
                  <c:v>2770</c:v>
                </c:pt>
                <c:pt idx="215">
                  <c:v>2829</c:v>
                </c:pt>
                <c:pt idx="216">
                  <c:v>2843</c:v>
                </c:pt>
                <c:pt idx="217">
                  <c:v>3044</c:v>
                </c:pt>
                <c:pt idx="218">
                  <c:v>2866</c:v>
                </c:pt>
                <c:pt idx="219">
                  <c:v>2690</c:v>
                </c:pt>
                <c:pt idx="220">
                  <c:v>2421</c:v>
                </c:pt>
                <c:pt idx="221">
                  <c:v>2335</c:v>
                </c:pt>
                <c:pt idx="222">
                  <c:v>2349</c:v>
                </c:pt>
                <c:pt idx="223">
                  <c:v>2335</c:v>
                </c:pt>
                <c:pt idx="224">
                  <c:v>2236</c:v>
                </c:pt>
                <c:pt idx="225">
                  <c:v>2109</c:v>
                </c:pt>
                <c:pt idx="226">
                  <c:v>1930</c:v>
                </c:pt>
                <c:pt idx="227">
                  <c:v>1752</c:v>
                </c:pt>
                <c:pt idx="228">
                  <c:v>1750</c:v>
                </c:pt>
                <c:pt idx="229">
                  <c:v>17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layout>
                <c:manualLayout>
                  <c:x val="-1.2878628343815882E-2"/>
                  <c:y val="-4.9396283362822598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 80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0-FAD9-41A5-9B24-319A654422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31</c:f>
              <c:numCache>
                <c:formatCode>m/d/yyyy</c:formatCode>
                <c:ptCount val="23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</c:numCache>
            </c:numRef>
          </c:cat>
          <c:val>
            <c:numRef>
              <c:f>Sheet1!$B$2:$B$231</c:f>
              <c:numCache>
                <c:formatCode>#,##0</c:formatCode>
                <c:ptCount val="230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1</c:f>
              <c:numCache>
                <c:formatCode>m/d/yyyy</c:formatCode>
                <c:ptCount val="23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</c:numCache>
            </c:numRef>
          </c:cat>
          <c:val>
            <c:numRef>
              <c:f>Sheet1!$C$2:$C$231</c:f>
              <c:numCache>
                <c:formatCode>#,##0</c:formatCode>
                <c:ptCount val="23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1</c:f>
              <c:numCache>
                <c:formatCode>m/d/yyyy</c:formatCode>
                <c:ptCount val="23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</c:numCache>
            </c:numRef>
          </c:cat>
          <c:val>
            <c:numRef>
              <c:f>Sheet1!$D$2:$D$231</c:f>
              <c:numCache>
                <c:formatCode>#,##0</c:formatCode>
                <c:ptCount val="23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6</c:v>
                </c:pt>
                <c:pt idx="165">
                  <c:v>17</c:v>
                </c:pt>
                <c:pt idx="166">
                  <c:v>15</c:v>
                </c:pt>
                <c:pt idx="167">
                  <c:v>17</c:v>
                </c:pt>
                <c:pt idx="168">
                  <c:v>18</c:v>
                </c:pt>
                <c:pt idx="169">
                  <c:v>18</c:v>
                </c:pt>
                <c:pt idx="170">
                  <c:v>19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22</c:v>
                </c:pt>
                <c:pt idx="175">
                  <c:v>25</c:v>
                </c:pt>
                <c:pt idx="176">
                  <c:v>26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18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20</c:v>
                </c:pt>
                <c:pt idx="225">
                  <c:v>19</c:v>
                </c:pt>
                <c:pt idx="226">
                  <c:v>20</c:v>
                </c:pt>
                <c:pt idx="227">
                  <c:v>21</c:v>
                </c:pt>
                <c:pt idx="228">
                  <c:v>21</c:v>
                </c:pt>
                <c:pt idx="229" formatCode="General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layout>
                <c:manualLayout>
                  <c:x val="-1.0886804832506937E-2"/>
                  <c:y val="-3.5924569718416476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3C7C-46FD-AC56-781B4A4EF2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31</c:f>
              <c:numCache>
                <c:formatCode>m/d/yyyy</c:formatCode>
                <c:ptCount val="23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</c:numCache>
            </c:numRef>
          </c:cat>
          <c:val>
            <c:numRef>
              <c:f>Sheet1!$B$2:$B$231</c:f>
              <c:numCache>
                <c:formatCode>#,##0</c:formatCode>
                <c:ptCount val="230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 formatCode="General">
                  <c:v>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1</c:f>
              <c:numCache>
                <c:formatCode>m/d/yyyy</c:formatCode>
                <c:ptCount val="23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</c:numCache>
            </c:numRef>
          </c:cat>
          <c:val>
            <c:numRef>
              <c:f>Sheet1!$C$2:$C$231</c:f>
              <c:numCache>
                <c:formatCode>#,##0</c:formatCode>
                <c:ptCount val="23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3.4628599943211873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1</c:f>
              <c:numCache>
                <c:formatCode>m/d/yyyy</c:formatCode>
                <c:ptCount val="23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</c:numCache>
            </c:numRef>
          </c:cat>
          <c:val>
            <c:numRef>
              <c:f>Sheet1!$D$2:$D$231</c:f>
              <c:numCache>
                <c:formatCode>#,##0</c:formatCode>
                <c:ptCount val="230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1</c:v>
                </c:pt>
                <c:pt idx="43">
                  <c:v>477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7</c:v>
                </c:pt>
                <c:pt idx="60">
                  <c:v>1065</c:v>
                </c:pt>
                <c:pt idx="61">
                  <c:v>1113</c:v>
                </c:pt>
                <c:pt idx="62">
                  <c:v>1149</c:v>
                </c:pt>
                <c:pt idx="63">
                  <c:v>1173</c:v>
                </c:pt>
                <c:pt idx="64">
                  <c:v>1160</c:v>
                </c:pt>
                <c:pt idx="65">
                  <c:v>1170</c:v>
                </c:pt>
                <c:pt idx="66">
                  <c:v>1208</c:v>
                </c:pt>
                <c:pt idx="67">
                  <c:v>1154</c:v>
                </c:pt>
                <c:pt idx="68">
                  <c:v>1165</c:v>
                </c:pt>
                <c:pt idx="69">
                  <c:v>1181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10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3</c:v>
                </c:pt>
                <c:pt idx="106">
                  <c:v>735</c:v>
                </c:pt>
                <c:pt idx="107">
                  <c:v>724</c:v>
                </c:pt>
                <c:pt idx="108">
                  <c:v>727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70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2</c:v>
                </c:pt>
                <c:pt idx="165">
                  <c:v>1106</c:v>
                </c:pt>
                <c:pt idx="166">
                  <c:v>1147</c:v>
                </c:pt>
                <c:pt idx="167">
                  <c:v>1171</c:v>
                </c:pt>
                <c:pt idx="168">
                  <c:v>1214</c:v>
                </c:pt>
                <c:pt idx="169">
                  <c:v>1242</c:v>
                </c:pt>
                <c:pt idx="170">
                  <c:v>1267</c:v>
                </c:pt>
                <c:pt idx="171">
                  <c:v>1270</c:v>
                </c:pt>
                <c:pt idx="172">
                  <c:v>1269</c:v>
                </c:pt>
                <c:pt idx="173">
                  <c:v>1282</c:v>
                </c:pt>
                <c:pt idx="174">
                  <c:v>1362</c:v>
                </c:pt>
                <c:pt idx="175">
                  <c:v>1391</c:v>
                </c:pt>
                <c:pt idx="176">
                  <c:v>1410</c:v>
                </c:pt>
                <c:pt idx="177">
                  <c:v>1463</c:v>
                </c:pt>
                <c:pt idx="178">
                  <c:v>1438</c:v>
                </c:pt>
                <c:pt idx="179">
                  <c:v>1465</c:v>
                </c:pt>
                <c:pt idx="180">
                  <c:v>1502</c:v>
                </c:pt>
                <c:pt idx="181">
                  <c:v>1584</c:v>
                </c:pt>
                <c:pt idx="182">
                  <c:v>1595</c:v>
                </c:pt>
                <c:pt idx="183">
                  <c:v>1622</c:v>
                </c:pt>
                <c:pt idx="184">
                  <c:v>1648</c:v>
                </c:pt>
                <c:pt idx="185">
                  <c:v>1668</c:v>
                </c:pt>
                <c:pt idx="186">
                  <c:v>1672</c:v>
                </c:pt>
                <c:pt idx="187">
                  <c:v>1675</c:v>
                </c:pt>
                <c:pt idx="188">
                  <c:v>1770</c:v>
                </c:pt>
                <c:pt idx="189">
                  <c:v>1800</c:v>
                </c:pt>
                <c:pt idx="190">
                  <c:v>1831</c:v>
                </c:pt>
                <c:pt idx="191">
                  <c:v>1820</c:v>
                </c:pt>
                <c:pt idx="192">
                  <c:v>1831</c:v>
                </c:pt>
                <c:pt idx="193">
                  <c:v>1779</c:v>
                </c:pt>
                <c:pt idx="194">
                  <c:v>1826</c:v>
                </c:pt>
                <c:pt idx="195">
                  <c:v>1884</c:v>
                </c:pt>
                <c:pt idx="196">
                  <c:v>1891</c:v>
                </c:pt>
                <c:pt idx="197">
                  <c:v>1860</c:v>
                </c:pt>
                <c:pt idx="198">
                  <c:v>1860</c:v>
                </c:pt>
                <c:pt idx="199">
                  <c:v>1820</c:v>
                </c:pt>
                <c:pt idx="200">
                  <c:v>1781</c:v>
                </c:pt>
                <c:pt idx="201">
                  <c:v>1805</c:v>
                </c:pt>
                <c:pt idx="202">
                  <c:v>1825</c:v>
                </c:pt>
                <c:pt idx="203">
                  <c:v>1778</c:v>
                </c:pt>
                <c:pt idx="204">
                  <c:v>1747</c:v>
                </c:pt>
                <c:pt idx="207">
                  <c:v>1650</c:v>
                </c:pt>
                <c:pt idx="208">
                  <c:v>1659</c:v>
                </c:pt>
                <c:pt idx="209">
                  <c:v>1669</c:v>
                </c:pt>
                <c:pt idx="210">
                  <c:v>1620</c:v>
                </c:pt>
                <c:pt idx="211">
                  <c:v>1559</c:v>
                </c:pt>
                <c:pt idx="212">
                  <c:v>1513</c:v>
                </c:pt>
                <c:pt idx="213">
                  <c:v>1429</c:v>
                </c:pt>
                <c:pt idx="214">
                  <c:v>1402</c:v>
                </c:pt>
                <c:pt idx="215">
                  <c:v>1382</c:v>
                </c:pt>
                <c:pt idx="216">
                  <c:v>1352</c:v>
                </c:pt>
                <c:pt idx="217">
                  <c:v>1404</c:v>
                </c:pt>
                <c:pt idx="218">
                  <c:v>1374</c:v>
                </c:pt>
                <c:pt idx="219">
                  <c:v>1327</c:v>
                </c:pt>
                <c:pt idx="220">
                  <c:v>1249</c:v>
                </c:pt>
                <c:pt idx="221">
                  <c:v>1232</c:v>
                </c:pt>
                <c:pt idx="222">
                  <c:v>1216</c:v>
                </c:pt>
                <c:pt idx="223">
                  <c:v>1200</c:v>
                </c:pt>
                <c:pt idx="224">
                  <c:v>1178</c:v>
                </c:pt>
                <c:pt idx="225">
                  <c:v>1136</c:v>
                </c:pt>
                <c:pt idx="226">
                  <c:v>1045</c:v>
                </c:pt>
                <c:pt idx="227">
                  <c:v>1005</c:v>
                </c:pt>
                <c:pt idx="228">
                  <c:v>970</c:v>
                </c:pt>
                <c:pt idx="229" formatCode="General">
                  <c:v>9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79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D56A-4EBF-8935-6E1D9BB68909}"/>
                </c:ext>
              </c:extLst>
            </c:dLbl>
            <c:dLbl>
              <c:idx val="200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D56A-4EBF-8935-6E1D9BB68909}"/>
                </c:ext>
              </c:extLst>
            </c:dLbl>
            <c:dLbl>
              <c:idx val="228"/>
              <c:layout>
                <c:manualLayout>
                  <c:x val="-3.0219362317067216E-2"/>
                  <c:y val="-4.490571214802054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43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56A-4EBF-8935-6E1D9BB6890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31</c:f>
              <c:numCache>
                <c:formatCode>m/d/yyyy</c:formatCode>
                <c:ptCount val="23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</c:numCache>
            </c:numRef>
          </c:cat>
          <c:val>
            <c:numRef>
              <c:f>Sheet1!$B$2:$B$231</c:f>
              <c:numCache>
                <c:formatCode>#,##0</c:formatCode>
                <c:ptCount val="230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1</c:f>
              <c:numCache>
                <c:formatCode>m/d/yyyy</c:formatCode>
                <c:ptCount val="23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</c:numCache>
            </c:numRef>
          </c:cat>
          <c:val>
            <c:numRef>
              <c:f>Sheet1!$C$2:$C$231</c:f>
              <c:numCache>
                <c:formatCode>#,##0</c:formatCode>
                <c:ptCount val="23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19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9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9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4.xml"/><Relationship Id="rId5" Type="http://schemas.openxmlformats.org/officeDocument/2006/relationships/tags" Target="../tags/tag7.xml"/><Relationship Id="rId10" Type="http://schemas.openxmlformats.org/officeDocument/2006/relationships/chart" Target="../charts/chart3.xml"/><Relationship Id="rId4" Type="http://schemas.openxmlformats.org/officeDocument/2006/relationships/tags" Target="../tags/tag6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/>
              <a:t>aktualizace 19.04</a:t>
            </a:r>
            <a:r>
              <a:rPr lang="cs-CZ" sz="3600" b="1" i="1" dirty="0"/>
              <a:t>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19099085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04840168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489545058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75789636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3696251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0434625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17</TotalTime>
  <Words>1042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Žofka Jan Mgr. Ing.</cp:lastModifiedBy>
  <cp:revision>604</cp:revision>
  <dcterms:created xsi:type="dcterms:W3CDTF">2020-08-08T14:25:07Z</dcterms:created>
  <dcterms:modified xsi:type="dcterms:W3CDTF">2021-04-19T03:55:05Z</dcterms:modified>
</cp:coreProperties>
</file>